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90" r:id="rId2"/>
  </p:sldIdLst>
  <p:sldSz cx="9144000" cy="6858000" type="screen4x3"/>
  <p:notesSz cx="6888163" cy="100203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hele Liziero" initials="ML" lastIdx="1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0024"/>
    <a:srgbClr val="FF0024"/>
    <a:srgbClr val="870021"/>
    <a:srgbClr val="6666FF"/>
    <a:srgbClr val="3366FF"/>
    <a:srgbClr val="969696"/>
    <a:srgbClr val="888888"/>
    <a:srgbClr val="D0D8E8"/>
    <a:srgbClr val="0066FF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6544" autoAdjust="0"/>
    <p:restoredTop sz="94713" autoAdjust="0"/>
  </p:normalViewPr>
  <p:slideViewPr>
    <p:cSldViewPr>
      <p:cViewPr varScale="1">
        <p:scale>
          <a:sx n="71" d="100"/>
          <a:sy n="71" d="100"/>
        </p:scale>
        <p:origin x="1644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621" cy="501576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s-MX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00934" y="0"/>
            <a:ext cx="2985621" cy="501576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EBEB1018-884F-4A65-AEB5-2AADD2140554}" type="datetimeFigureOut">
              <a:rPr lang="es-MX" smtClean="0"/>
              <a:pPr/>
              <a:t>11/08/2014</a:t>
            </a:fld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518724"/>
            <a:ext cx="2985621" cy="501576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00934" y="9518724"/>
            <a:ext cx="2985621" cy="501576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876A0D65-DBF3-4346-AFA9-E59A5E397270}" type="slidenum">
              <a:rPr lang="es-MX" smtClean="0"/>
              <a:pPr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3366350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0" cy="50101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901699" y="0"/>
            <a:ext cx="2984870" cy="50101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A241F41D-EBDC-4AF9-9EEC-CEF4EB07D882}" type="datetimeFigureOut">
              <a:rPr lang="it-IT" smtClean="0"/>
              <a:pPr/>
              <a:t>11/08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8213" y="750888"/>
            <a:ext cx="5011737" cy="3759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8817" y="4759643"/>
            <a:ext cx="5510530" cy="4509135"/>
          </a:xfrm>
          <a:prstGeom prst="rect">
            <a:avLst/>
          </a:prstGeom>
        </p:spPr>
        <p:txBody>
          <a:bodyPr vert="horz" lIns="92446" tIns="46223" rIns="92446" bIns="46223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1" y="9517546"/>
            <a:ext cx="2984870" cy="501015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901699" y="9517546"/>
            <a:ext cx="2984870" cy="501015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329503B5-285E-4149-B32C-397BB6B62E10}" type="slidenum">
              <a:rPr lang="it-IT" smtClean="0"/>
              <a:pPr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80653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 descr="logoET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19256" y="6444406"/>
            <a:ext cx="1728192" cy="368970"/>
          </a:xfrm>
          <a:prstGeom prst="rect">
            <a:avLst/>
          </a:prstGeom>
        </p:spPr>
      </p:pic>
      <p:cxnSp>
        <p:nvCxnSpPr>
          <p:cNvPr id="9" name="Connettore 1 8"/>
          <p:cNvCxnSpPr/>
          <p:nvPr userDrawn="1"/>
        </p:nvCxnSpPr>
        <p:spPr>
          <a:xfrm>
            <a:off x="395536" y="6355927"/>
            <a:ext cx="828092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Rectángulo 3"/>
          <p:cNvSpPr/>
          <p:nvPr userDrawn="1"/>
        </p:nvSpPr>
        <p:spPr>
          <a:xfrm>
            <a:off x="0" y="0"/>
            <a:ext cx="9144000" cy="134076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pic>
        <p:nvPicPr>
          <p:cNvPr id="5" name="Immagine 10" descr="1-ENERGIA.jpg"/>
          <p:cNvPicPr>
            <a:picLocks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-12746" y="-2"/>
            <a:ext cx="2606240" cy="13407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" name="Imagen 1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028384" y="6405594"/>
            <a:ext cx="653134" cy="451323"/>
          </a:xfrm>
          <a:prstGeom prst="rect">
            <a:avLst/>
          </a:prstGeom>
        </p:spPr>
      </p:pic>
      <p:sp>
        <p:nvSpPr>
          <p:cNvPr id="8" name="CuadroTexto 7"/>
          <p:cNvSpPr txBox="1"/>
          <p:nvPr userDrawn="1"/>
        </p:nvSpPr>
        <p:spPr>
          <a:xfrm>
            <a:off x="3491880" y="6639163"/>
            <a:ext cx="21884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nfidenciál</a:t>
            </a:r>
            <a:r>
              <a:rPr lang="es-MX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– solo para uso interno</a:t>
            </a:r>
            <a:endParaRPr lang="es-MX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image" Target="../media/image4.jpeg"/><Relationship Id="rId26" Type="http://schemas.openxmlformats.org/officeDocument/2006/relationships/image" Target="../media/image12.jpeg"/><Relationship Id="rId3" Type="http://schemas.openxmlformats.org/officeDocument/2006/relationships/tags" Target="../tags/tag3.xml"/><Relationship Id="rId21" Type="http://schemas.openxmlformats.org/officeDocument/2006/relationships/image" Target="../media/image7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1.xml"/><Relationship Id="rId25" Type="http://schemas.openxmlformats.org/officeDocument/2006/relationships/image" Target="../media/image11.jpeg"/><Relationship Id="rId33" Type="http://schemas.openxmlformats.org/officeDocument/2006/relationships/image" Target="../media/image19.emf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6.jpeg"/><Relationship Id="rId29" Type="http://schemas.openxmlformats.org/officeDocument/2006/relationships/image" Target="../media/image15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0.jpeg"/><Relationship Id="rId32" Type="http://schemas.openxmlformats.org/officeDocument/2006/relationships/image" Target="../media/image18.jpe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9.jpeg"/><Relationship Id="rId28" Type="http://schemas.openxmlformats.org/officeDocument/2006/relationships/image" Target="../media/image14.jpeg"/><Relationship Id="rId10" Type="http://schemas.openxmlformats.org/officeDocument/2006/relationships/tags" Target="../tags/tag10.xml"/><Relationship Id="rId19" Type="http://schemas.openxmlformats.org/officeDocument/2006/relationships/image" Target="../media/image5.jpeg"/><Relationship Id="rId31" Type="http://schemas.openxmlformats.org/officeDocument/2006/relationships/image" Target="../media/image17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8.jpeg"/><Relationship Id="rId27" Type="http://schemas.openxmlformats.org/officeDocument/2006/relationships/image" Target="../media/image13.jpeg"/><Relationship Id="rId30" Type="http://schemas.openxmlformats.org/officeDocument/2006/relationships/image" Target="../media/image16.jpeg"/><Relationship Id="rId8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289608" y="368646"/>
            <a:ext cx="5705308" cy="914400"/>
          </a:xfrm>
          <a:prstGeom prst="rect">
            <a:avLst/>
          </a:prstGeom>
        </p:spPr>
        <p:txBody>
          <a:bodyPr tIns="45720" rIns="91440" bIns="45720" anchor="ctr"/>
          <a:lstStyle/>
          <a:p>
            <a:pPr algn="r" eaLnBrk="1" hangingPunct="1"/>
            <a:r>
              <a:rPr lang="es-MX" sz="2400" dirty="0" smtClean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Rubros Principales</a:t>
            </a:r>
            <a:br>
              <a:rPr lang="es-MX" sz="2400" dirty="0" smtClean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endParaRPr lang="es-MX" sz="1800" dirty="0" smtClean="0">
              <a:solidFill>
                <a:schemeClr val="bg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hteck 3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334708" y="1938535"/>
            <a:ext cx="2165859" cy="20955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9200" tIns="54000" rIns="79200" bIns="54000" anchor="ctr" anchorCtr="1"/>
          <a:lstStyle/>
          <a:p>
            <a:pPr algn="ctr">
              <a:lnSpc>
                <a:spcPct val="85000"/>
              </a:lnSpc>
              <a:buClr>
                <a:srgbClr val="D10024"/>
              </a:buClr>
            </a:pPr>
            <a:r>
              <a:rPr lang="es-MX" sz="15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ímico – </a:t>
            </a:r>
            <a:r>
              <a:rPr lang="es-MX" sz="1500" b="1" dirty="0" err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rmac</a:t>
            </a:r>
            <a:r>
              <a:rPr lang="es-MX" sz="15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s-MX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hteck 3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3457" y="1916832"/>
            <a:ext cx="2141812" cy="20955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9200" tIns="54000" rIns="79200" bIns="54000" anchor="ctr" anchorCtr="1"/>
          <a:lstStyle>
            <a:lvl1pPr>
              <a:buClr>
                <a:schemeClr val="tx1"/>
              </a:buClr>
              <a:buFont typeface="Arial Narrow" panose="020B0606020202030204" pitchFamily="34" charset="0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SzPct val="10000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  <a:buClr>
                <a:srgbClr val="D10024"/>
              </a:buClr>
              <a:buFontTx/>
              <a:buNone/>
            </a:pPr>
            <a:r>
              <a:rPr lang="es-MX" sz="1500" dirty="0" smtClean="0">
                <a:solidFill>
                  <a:srgbClr val="FFFFFF"/>
                </a:solidFill>
              </a:rPr>
              <a:t>Producción</a:t>
            </a:r>
            <a:endParaRPr lang="es-MX" sz="1500" dirty="0">
              <a:solidFill>
                <a:schemeClr val="bg1"/>
              </a:solidFill>
            </a:endParaRPr>
          </a:p>
        </p:txBody>
      </p:sp>
      <p:sp>
        <p:nvSpPr>
          <p:cNvPr id="16" name="Rechteck 3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09498" y="1938535"/>
            <a:ext cx="2038933" cy="20955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2000" tIns="54000" rIns="79200" bIns="54000" anchor="ctr" anchorCtr="1"/>
          <a:lstStyle>
            <a:lvl1pPr>
              <a:buClr>
                <a:schemeClr val="tx1"/>
              </a:buClr>
              <a:buFont typeface="Arial Narrow" panose="020B0606020202030204" pitchFamily="34" charset="0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SzPct val="10000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  <a:buClr>
                <a:srgbClr val="D10024"/>
              </a:buClr>
              <a:buFontTx/>
              <a:buNone/>
            </a:pPr>
            <a:r>
              <a:rPr lang="es-MX" sz="1500" dirty="0" smtClean="0">
                <a:solidFill>
                  <a:srgbClr val="FFFFFF"/>
                </a:solidFill>
              </a:rPr>
              <a:t>Proceso de Metales</a:t>
            </a:r>
            <a:endParaRPr lang="es-MX" sz="1500" dirty="0">
              <a:solidFill>
                <a:schemeClr val="bg1"/>
              </a:solidFill>
            </a:endParaRPr>
          </a:p>
        </p:txBody>
      </p:sp>
      <p:sp>
        <p:nvSpPr>
          <p:cNvPr id="17" name="Rechteck 3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59909" y="1916832"/>
            <a:ext cx="2156274" cy="2143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9200" tIns="54000" rIns="79200" bIns="54000" anchor="ctr" anchorCtr="1"/>
          <a:lstStyle/>
          <a:p>
            <a:pPr algn="ctr">
              <a:lnSpc>
                <a:spcPct val="85000"/>
              </a:lnSpc>
              <a:buClr>
                <a:srgbClr val="D10024"/>
              </a:buClr>
            </a:pPr>
            <a:r>
              <a:rPr lang="es-MX" sz="15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menticio </a:t>
            </a:r>
            <a:endParaRPr lang="es-MX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Imagen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978" y="2149797"/>
            <a:ext cx="1041573" cy="1045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n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95" y="2154017"/>
            <a:ext cx="2146944" cy="101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Imagen 7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3029" y="2149797"/>
            <a:ext cx="2011115" cy="1045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Imagen 10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4504" y="2132856"/>
            <a:ext cx="2151213" cy="1045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feld 4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40569" y="3586882"/>
            <a:ext cx="351326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buClr>
                <a:schemeClr val="tx1"/>
              </a:buClr>
              <a:buFont typeface="Arial Narrow" panose="020B0606020202030204" pitchFamily="34" charset="0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SzPct val="10000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Font typeface="Arial" panose="020B0604020202020204" pitchFamily="34" charset="0"/>
              <a:buChar char="•"/>
            </a:pPr>
            <a:endParaRPr lang="es-MX" sz="1200" dirty="0" smtClean="0"/>
          </a:p>
          <a:p>
            <a:pPr>
              <a:spcBef>
                <a:spcPct val="50000"/>
              </a:spcBef>
              <a:buClrTx/>
              <a:buFont typeface="Arial" panose="020B0604020202020204" pitchFamily="34" charset="0"/>
              <a:buChar char="•"/>
            </a:pPr>
            <a:endParaRPr lang="es-MX" sz="1200" dirty="0"/>
          </a:p>
        </p:txBody>
      </p:sp>
      <p:sp>
        <p:nvSpPr>
          <p:cNvPr id="23" name="Rechteck 3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76265" y="3227834"/>
            <a:ext cx="2132591" cy="20955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2000" tIns="54000" rIns="79200" bIns="54000" anchor="ctr" anchorCtr="1"/>
          <a:lstStyle>
            <a:lvl1pPr>
              <a:buClr>
                <a:schemeClr val="tx1"/>
              </a:buClr>
              <a:buFont typeface="Arial Narrow" panose="020B0606020202030204" pitchFamily="34" charset="0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SzPct val="10000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  <a:buClr>
                <a:srgbClr val="D10024"/>
              </a:buClr>
              <a:buFontTx/>
              <a:buNone/>
            </a:pPr>
            <a:r>
              <a:rPr lang="es-MX" sz="1500" dirty="0" smtClean="0">
                <a:solidFill>
                  <a:srgbClr val="FFFFFF"/>
                </a:solidFill>
              </a:rPr>
              <a:t>Telecom - Servicios</a:t>
            </a:r>
            <a:endParaRPr lang="es-MX" sz="1500" dirty="0">
              <a:solidFill>
                <a:schemeClr val="bg1"/>
              </a:solidFill>
            </a:endParaRPr>
          </a:p>
        </p:txBody>
      </p:sp>
      <p:sp>
        <p:nvSpPr>
          <p:cNvPr id="24" name="Rechteck 3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9367" y="3244775"/>
            <a:ext cx="2158916" cy="20955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9200" tIns="54000" rIns="79200" bIns="54000" anchor="ctr" anchorCtr="1"/>
          <a:lstStyle>
            <a:lvl1pPr>
              <a:buClr>
                <a:schemeClr val="tx1"/>
              </a:buClr>
              <a:buFont typeface="Arial Narrow" panose="020B0606020202030204" pitchFamily="34" charset="0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SzPct val="10000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  <a:buClr>
                <a:srgbClr val="D10024"/>
              </a:buClr>
              <a:buFontTx/>
              <a:buNone/>
            </a:pPr>
            <a:r>
              <a:rPr lang="es-MX" sz="1500" dirty="0" smtClean="0">
                <a:solidFill>
                  <a:srgbClr val="FFFFFF"/>
                </a:solidFill>
              </a:rPr>
              <a:t>Distribución </a:t>
            </a:r>
            <a:endParaRPr lang="es-MX" sz="1500" dirty="0">
              <a:solidFill>
                <a:schemeClr val="bg1"/>
              </a:solidFill>
            </a:endParaRPr>
          </a:p>
        </p:txBody>
      </p:sp>
      <p:sp>
        <p:nvSpPr>
          <p:cNvPr id="25" name="Rechteck 3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923029" y="3259063"/>
            <a:ext cx="2011114" cy="20955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2000" tIns="54000" rIns="79200" bIns="54000" anchor="ctr" anchorCtr="1"/>
          <a:lstStyle>
            <a:lvl1pPr>
              <a:buClr>
                <a:schemeClr val="tx1"/>
              </a:buClr>
              <a:buFont typeface="Arial Narrow" panose="020B0606020202030204" pitchFamily="34" charset="0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SzPct val="10000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  <a:buClr>
                <a:srgbClr val="D10024"/>
              </a:buClr>
              <a:buFontTx/>
              <a:buNone/>
            </a:pPr>
            <a:r>
              <a:rPr lang="es-MX" sz="1500" dirty="0" smtClean="0">
                <a:solidFill>
                  <a:srgbClr val="FFFFFF"/>
                </a:solidFill>
              </a:rPr>
              <a:t>Servicios </a:t>
            </a:r>
            <a:r>
              <a:rPr lang="es-MX" sz="1500" dirty="0" err="1" smtClean="0">
                <a:solidFill>
                  <a:srgbClr val="FFFFFF"/>
                </a:solidFill>
              </a:rPr>
              <a:t>Multisitio</a:t>
            </a:r>
            <a:endParaRPr lang="es-MX" sz="1500" dirty="0">
              <a:solidFill>
                <a:schemeClr val="bg1"/>
              </a:solidFill>
            </a:endParaRPr>
          </a:p>
        </p:txBody>
      </p:sp>
      <p:sp>
        <p:nvSpPr>
          <p:cNvPr id="26" name="Rechteck 3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422230" y="3244775"/>
            <a:ext cx="2072321" cy="24151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2000" tIns="54000" rIns="79200" bIns="54000" anchor="ctr" anchorCtr="1"/>
          <a:lstStyle>
            <a:lvl1pPr>
              <a:buClr>
                <a:schemeClr val="tx1"/>
              </a:buClr>
              <a:buFont typeface="Arial Narrow" panose="020B0606020202030204" pitchFamily="34" charset="0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SzPct val="10000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  <a:buClr>
                <a:srgbClr val="D10024"/>
              </a:buClr>
              <a:buFontTx/>
              <a:buNone/>
            </a:pPr>
            <a:r>
              <a:rPr lang="es-MX" sz="1500" dirty="0" smtClean="0">
                <a:solidFill>
                  <a:srgbClr val="FFFFFF"/>
                </a:solidFill>
              </a:rPr>
              <a:t>Centros de contacto</a:t>
            </a:r>
            <a:endParaRPr lang="es-MX" sz="1500" dirty="0">
              <a:solidFill>
                <a:schemeClr val="bg1"/>
              </a:solidFill>
            </a:endParaRPr>
          </a:p>
        </p:txBody>
      </p:sp>
      <p:pic>
        <p:nvPicPr>
          <p:cNvPr id="30" name="Imagen 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2488" y="2132856"/>
            <a:ext cx="1066204" cy="1046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59" descr="torca-electric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96" y="4869736"/>
            <a:ext cx="2194010" cy="1065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hteck 3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07504" y="4653712"/>
            <a:ext cx="2179207" cy="21602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9200" tIns="54000" rIns="79200" bIns="54000" anchor="ctr" anchorCtr="1"/>
          <a:lstStyle/>
          <a:p>
            <a:pPr algn="ctr">
              <a:lnSpc>
                <a:spcPct val="85000"/>
              </a:lnSpc>
              <a:buClr>
                <a:srgbClr val="D10024"/>
              </a:buClr>
            </a:pPr>
            <a:r>
              <a:rPr lang="es-MX" sz="15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ía Térmica</a:t>
            </a:r>
            <a:endParaRPr lang="es-MX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hteck 3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395703" y="4653712"/>
            <a:ext cx="2098848" cy="22237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54000" rIns="79200" bIns="54000" anchor="ctr" anchorCtr="1"/>
          <a:lstStyle>
            <a:lvl1pPr>
              <a:buClr>
                <a:schemeClr val="tx1"/>
              </a:buClr>
              <a:buFont typeface="Arial Narrow" panose="020B0606020202030204" pitchFamily="34" charset="0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SzPct val="10000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  <a:buClr>
                <a:srgbClr val="D10024"/>
              </a:buClr>
              <a:buFontTx/>
              <a:buNone/>
            </a:pPr>
            <a:r>
              <a:rPr lang="es-MX" sz="1500" dirty="0" smtClean="0">
                <a:solidFill>
                  <a:srgbClr val="FFFFFF"/>
                </a:solidFill>
              </a:rPr>
              <a:t>Energía Renovable</a:t>
            </a:r>
            <a:endParaRPr lang="es-MX" sz="1500" dirty="0">
              <a:solidFill>
                <a:schemeClr val="bg1"/>
              </a:solidFill>
            </a:endParaRPr>
          </a:p>
        </p:txBody>
      </p:sp>
      <p:pic>
        <p:nvPicPr>
          <p:cNvPr id="38" name="Picture 127" descr="ANd9GcRoLYVKojz4kkhAcvPuV-c5MC0JWw8cz69Qx-O6daP0MVjcLaRRMpghOFq9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5180" y="4864975"/>
            <a:ext cx="1147784" cy="1069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8" descr="offshore-ERHA-FPSO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032" y="4864434"/>
            <a:ext cx="1179824" cy="1071978"/>
          </a:xfrm>
          <a:prstGeom prst="rect">
            <a:avLst/>
          </a:prstGeom>
          <a:noFill/>
          <a:ln w="3175" algn="ctr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0841" y="4876086"/>
            <a:ext cx="2007590" cy="1065907"/>
          </a:xfrm>
          <a:prstGeom prst="rect">
            <a:avLst/>
          </a:prstGeom>
          <a:noFill/>
          <a:ln w="3175" algn="ctr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hteck 3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605254" y="4653713"/>
            <a:ext cx="2110463" cy="21126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2000" tIns="54000" rIns="79200" bIns="54000" anchor="ctr" anchorCtr="1"/>
          <a:lstStyle>
            <a:lvl1pPr>
              <a:buClr>
                <a:schemeClr val="tx1"/>
              </a:buClr>
              <a:buFont typeface="Arial Narrow" panose="020B0606020202030204" pitchFamily="34" charset="0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SzPct val="10000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  <a:buClr>
                <a:srgbClr val="D10024"/>
              </a:buClr>
              <a:buFontTx/>
              <a:buNone/>
            </a:pPr>
            <a:r>
              <a:rPr lang="es-MX" sz="1500" dirty="0" err="1" smtClean="0">
                <a:solidFill>
                  <a:srgbClr val="FFFFFF"/>
                </a:solidFill>
              </a:rPr>
              <a:t>Oil</a:t>
            </a:r>
            <a:r>
              <a:rPr lang="es-MX" sz="1500" dirty="0" smtClean="0">
                <a:solidFill>
                  <a:srgbClr val="FFFFFF"/>
                </a:solidFill>
              </a:rPr>
              <a:t> &amp;Gas</a:t>
            </a:r>
            <a:endParaRPr lang="es-MX" sz="1500" dirty="0">
              <a:solidFill>
                <a:schemeClr val="bg1"/>
              </a:solidFill>
            </a:endParaRPr>
          </a:p>
        </p:txBody>
      </p:sp>
      <p:sp>
        <p:nvSpPr>
          <p:cNvPr id="47" name="Rechteck 3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943196" y="4665644"/>
            <a:ext cx="2005235" cy="21044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9200" tIns="54000" rIns="79200" bIns="54000" anchor="ctr" anchorCtr="1"/>
          <a:lstStyle>
            <a:lvl1pPr>
              <a:buClr>
                <a:schemeClr val="tx1"/>
              </a:buClr>
              <a:buFont typeface="Arial Narrow" panose="020B0606020202030204" pitchFamily="34" charset="0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SzPct val="10000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100000"/>
              <a:buChar char="–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»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  <a:buClr>
                <a:srgbClr val="D10024"/>
              </a:buClr>
              <a:buFontTx/>
              <a:buNone/>
            </a:pPr>
            <a:r>
              <a:rPr lang="es-MX" sz="1500" dirty="0" smtClean="0">
                <a:solidFill>
                  <a:srgbClr val="FFFFFF"/>
                </a:solidFill>
              </a:rPr>
              <a:t> Minería</a:t>
            </a:r>
            <a:endParaRPr lang="es-MX" sz="1500" dirty="0">
              <a:solidFill>
                <a:schemeClr val="bg1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965" y="3459808"/>
            <a:ext cx="2076586" cy="1049312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5039" y="3486291"/>
            <a:ext cx="980992" cy="1022828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087" y="3486719"/>
            <a:ext cx="952336" cy="1022399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1304" y="3437384"/>
            <a:ext cx="1207551" cy="1068626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23" y="3471864"/>
            <a:ext cx="2166688" cy="1037254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2049" y="3437384"/>
            <a:ext cx="1090071" cy="1071735"/>
          </a:xfrm>
          <a:prstGeom prst="rect">
            <a:avLst/>
          </a:prstGeom>
        </p:spPr>
      </p:pic>
      <p:pic>
        <p:nvPicPr>
          <p:cNvPr id="37" name="Imagen 36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2390410" y="4876086"/>
            <a:ext cx="2104141" cy="1065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35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Bt4EUSkCxRwvfjJFtt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.jLbk5G0q2_RVQBn5M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Bt4EUSkCxRwvfjJFt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JfyLIA0UiiO8A8lsgP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CAkbMqhkidi5c0q2Ly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3Un15qi0evmlV09y.5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osVyB260i_np8O_1vw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a6I0lj_0G4D1ZOnWJs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N76m0oZ0yZar6jjH5F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JfyLIA0UiiO8A8lsgP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Bt4EUSkCxRwvfjJFt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exDQnfWEeKDvAL7yNm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Bt4EUSkCxRwvfjJFt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N76m0oZ0yZar6jjH5F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JfyLIA0UiiO8A8lsgP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Bt4EUSkCxRwvfjJFttA"/>
</p:tagLst>
</file>

<file path=ppt/theme/theme1.xml><?xml version="1.0" encoding="utf-8"?>
<a:theme xmlns:a="http://schemas.openxmlformats.org/drawingml/2006/main" name="ENERGY TEA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67</TotalTime>
  <Words>29</Words>
  <Application>Microsoft Office PowerPoint</Application>
  <PresentationFormat>Presentación en pantalla (4:3)</PresentationFormat>
  <Paragraphs>13</Paragraphs>
  <Slides>1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5" baseType="lpstr">
      <vt:lpstr>Arial</vt:lpstr>
      <vt:lpstr>Arial Black</vt:lpstr>
      <vt:lpstr>Calibri</vt:lpstr>
      <vt:lpstr>ENERGY TEAM</vt:lpstr>
      <vt:lpstr>Rubros Principales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otta</dc:creator>
  <cp:lastModifiedBy>mauro</cp:lastModifiedBy>
  <cp:revision>1077</cp:revision>
  <cp:lastPrinted>2013-12-10T14:00:32Z</cp:lastPrinted>
  <dcterms:created xsi:type="dcterms:W3CDTF">2013-10-21T10:03:35Z</dcterms:created>
  <dcterms:modified xsi:type="dcterms:W3CDTF">2014-08-11T18:01:06Z</dcterms:modified>
</cp:coreProperties>
</file>